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47"/>
  </p:notesMasterIdLst>
  <p:handoutMasterIdLst>
    <p:handoutMasterId r:id="rId48"/>
  </p:handoutMasterIdLst>
  <p:sldIdLst>
    <p:sldId id="271" r:id="rId15"/>
    <p:sldId id="343" r:id="rId16"/>
    <p:sldId id="289" r:id="rId17"/>
    <p:sldId id="345" r:id="rId18"/>
    <p:sldId id="346" r:id="rId19"/>
    <p:sldId id="347" r:id="rId20"/>
    <p:sldId id="348" r:id="rId21"/>
    <p:sldId id="340" r:id="rId22"/>
    <p:sldId id="344" r:id="rId23"/>
    <p:sldId id="302" r:id="rId24"/>
    <p:sldId id="304" r:id="rId25"/>
    <p:sldId id="303" r:id="rId26"/>
    <p:sldId id="322" r:id="rId27"/>
    <p:sldId id="319" r:id="rId28"/>
    <p:sldId id="321" r:id="rId29"/>
    <p:sldId id="333" r:id="rId30"/>
    <p:sldId id="324" r:id="rId31"/>
    <p:sldId id="318" r:id="rId32"/>
    <p:sldId id="325" r:id="rId33"/>
    <p:sldId id="296" r:id="rId34"/>
    <p:sldId id="332" r:id="rId35"/>
    <p:sldId id="331" r:id="rId36"/>
    <p:sldId id="338" r:id="rId37"/>
    <p:sldId id="307" r:id="rId38"/>
    <p:sldId id="314" r:id="rId39"/>
    <p:sldId id="315" r:id="rId40"/>
    <p:sldId id="312" r:id="rId41"/>
    <p:sldId id="313" r:id="rId42"/>
    <p:sldId id="342" r:id="rId43"/>
    <p:sldId id="341" r:id="rId44"/>
    <p:sldId id="334" r:id="rId45"/>
    <p:sldId id="269"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84" d="100"/>
          <a:sy n="84" d="100"/>
        </p:scale>
        <p:origin x="284" y="60"/>
      </p:cViewPr>
      <p:guideLst/>
    </p:cSldViewPr>
  </p:slideViewPr>
  <p:notesTextViewPr>
    <p:cViewPr>
      <p:scale>
        <a:sx n="1" d="1"/>
        <a:sy n="1" d="1"/>
      </p:scale>
      <p:origin x="0" y="0"/>
    </p:cViewPr>
  </p:notesText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7</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1/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1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3"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heme" Target="../theme/theme11.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7/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4.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5.xml"/><Relationship Id="rId1" Type="http://schemas.openxmlformats.org/officeDocument/2006/relationships/slideLayout" Target="../slideLayouts/slideLayout1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136.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27</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061</Words>
  <Application>Microsoft Office PowerPoint</Application>
  <PresentationFormat>Widescreen</PresentationFormat>
  <Paragraphs>313</Paragraphs>
  <Slides>32</Slides>
  <Notes>32</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2</vt:i4>
      </vt:variant>
    </vt:vector>
  </HeadingPairs>
  <TitlesOfParts>
    <vt:vector size="60"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1-17T14: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